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7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Weigel Stefan (PAR-ES)" userId="fd3b2067-2981-4ad8-bf3a-d2e1004e4fa8" providerId="ADAL" clId="{3E74DC29-A7D4-4103-A45F-90B4F4E024A2}"/>
    <pc:docChg chg="delSld">
      <pc:chgData name="Weigel Stefan (PAR-ES)" userId="fd3b2067-2981-4ad8-bf3a-d2e1004e4fa8" providerId="ADAL" clId="{3E74DC29-A7D4-4103-A45F-90B4F4E024A2}" dt="2022-03-10T09:45:57.688" v="0" actId="2696"/>
      <pc:docMkLst>
        <pc:docMk/>
      </pc:docMkLst>
      <pc:sldChg chg="del">
        <pc:chgData name="Weigel Stefan (PAR-ES)" userId="fd3b2067-2981-4ad8-bf3a-d2e1004e4fa8" providerId="ADAL" clId="{3E74DC29-A7D4-4103-A45F-90B4F4E024A2}" dt="2022-03-10T09:45:57.688" v="0" actId="2696"/>
        <pc:sldMkLst>
          <pc:docMk/>
          <pc:sldMk cId="1116898475" sldId="408"/>
        </pc:sldMkLst>
      </pc:sldChg>
      <pc:sldChg chg="del">
        <pc:chgData name="Weigel Stefan (PAR-ES)" userId="fd3b2067-2981-4ad8-bf3a-d2e1004e4fa8" providerId="ADAL" clId="{3E74DC29-A7D4-4103-A45F-90B4F4E024A2}" dt="2022-03-10T09:45:57.688" v="0" actId="2696"/>
        <pc:sldMkLst>
          <pc:docMk/>
          <pc:sldMk cId="3294247987" sldId="409"/>
        </pc:sldMkLst>
      </pc:sldChg>
      <pc:sldChg chg="del">
        <pc:chgData name="Weigel Stefan (PAR-ES)" userId="fd3b2067-2981-4ad8-bf3a-d2e1004e4fa8" providerId="ADAL" clId="{3E74DC29-A7D4-4103-A45F-90B4F4E024A2}" dt="2022-03-10T09:45:57.688" v="0" actId="2696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Weigel Stefan (PAR-ES)" userId="fd3b2067-2981-4ad8-bf3a-d2e1004e4fa8" providerId="ADAL" clId="{8E9F581B-9978-4E27-8824-9A5D0F0D6AED}"/>
    <pc:docChg chg="modSld">
      <pc:chgData name="Weigel Stefan (PAR-ES)" userId="fd3b2067-2981-4ad8-bf3a-d2e1004e4fa8" providerId="ADAL" clId="{8E9F581B-9978-4E27-8824-9A5D0F0D6AED}" dt="2023-01-31T18:29:54.969" v="21" actId="27918"/>
      <pc:docMkLst>
        <pc:docMk/>
      </pc:docMkLst>
      <pc:sldChg chg="mod">
        <pc:chgData name="Weigel Stefan (PAR-ES)" userId="fd3b2067-2981-4ad8-bf3a-d2e1004e4fa8" providerId="ADAL" clId="{8E9F581B-9978-4E27-8824-9A5D0F0D6AED}" dt="2023-01-31T18:29:54.969" v="21" actId="27918"/>
        <pc:sldMkLst>
          <pc:docMk/>
          <pc:sldMk cId="1708932620" sldId="407"/>
        </pc:sldMkLst>
      </pc:sld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Weigel Stefan (PAR-EPS)" userId="fd3b2067-2981-4ad8-bf3a-d2e1004e4fa8" providerId="ADAL" clId="{341EF504-AEA8-4CAA-B298-E01B929C708B}"/>
    <pc:docChg chg="custSel modSld">
      <pc:chgData name="Weigel Stefan (PAR-EPS)" userId="fd3b2067-2981-4ad8-bf3a-d2e1004e4fa8" providerId="ADAL" clId="{341EF504-AEA8-4CAA-B298-E01B929C708B}" dt="2024-02-28T13:51:48.709" v="33" actId="20577"/>
      <pc:docMkLst>
        <pc:docMk/>
      </pc:docMkLst>
      <pc:sldChg chg="delSp modSp mod">
        <pc:chgData name="Weigel Stefan (PAR-EPS)" userId="fd3b2067-2981-4ad8-bf3a-d2e1004e4fa8" providerId="ADAL" clId="{341EF504-AEA8-4CAA-B298-E01B929C708B}" dt="2024-02-28T13:51:48.709" v="33" actId="20577"/>
        <pc:sldMkLst>
          <pc:docMk/>
          <pc:sldMk cId="1708932620" sldId="407"/>
        </pc:sldMkLst>
        <pc:spChg chg="mod">
          <ac:chgData name="Weigel Stefan (PAR-EPS)" userId="fd3b2067-2981-4ad8-bf3a-d2e1004e4fa8" providerId="ADAL" clId="{341EF504-AEA8-4CAA-B298-E01B929C708B}" dt="2024-02-28T13:51:48.709" v="33" actId="20577"/>
          <ac:spMkLst>
            <pc:docMk/>
            <pc:sldMk cId="1708932620" sldId="407"/>
            <ac:spMk id="2" creationId="{00000000-0000-0000-0000-000000000000}"/>
          </ac:spMkLst>
        </pc:spChg>
        <pc:spChg chg="del">
          <ac:chgData name="Weigel Stefan (PAR-EPS)" userId="fd3b2067-2981-4ad8-bf3a-d2e1004e4fa8" providerId="ADAL" clId="{341EF504-AEA8-4CAA-B298-E01B929C708B}" dt="2024-02-28T13:51:37.032" v="31" actId="478"/>
          <ac:spMkLst>
            <pc:docMk/>
            <pc:sldMk cId="1708932620" sldId="407"/>
            <ac:spMk id="3" creationId="{44B1ED42-1DF6-DE06-FBC1-703DE49845A8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Weigel Stefan (PAR-ES)" userId="fd3b2067-2981-4ad8-bf3a-d2e1004e4fa8" providerId="ADAL" clId="{C2D8A675-BF85-42D2-BFA7-DCAAE821E51D}"/>
    <pc:docChg chg="modSld">
      <pc:chgData name="Weigel Stefan (PAR-ES)" userId="fd3b2067-2981-4ad8-bf3a-d2e1004e4fa8" providerId="ADAL" clId="{C2D8A675-BF85-42D2-BFA7-DCAAE821E51D}" dt="2022-12-16T17:15:56.176" v="58" actId="27918"/>
      <pc:docMkLst>
        <pc:docMk/>
      </pc:docMkLst>
      <pc:sldChg chg="addSp modSp mod">
        <pc:chgData name="Weigel Stefan (PAR-ES)" userId="fd3b2067-2981-4ad8-bf3a-d2e1004e4fa8" providerId="ADAL" clId="{C2D8A675-BF85-42D2-BFA7-DCAAE821E51D}" dt="2022-12-16T17:15:56.176" v="58" actId="27918"/>
        <pc:sldMkLst>
          <pc:docMk/>
          <pc:sldMk cId="1708932620" sldId="407"/>
        </pc:sldMkLst>
        <pc:spChg chg="mod">
          <ac:chgData name="Weigel Stefan (PAR-ES)" userId="fd3b2067-2981-4ad8-bf3a-d2e1004e4fa8" providerId="ADAL" clId="{C2D8A675-BF85-42D2-BFA7-DCAAE821E51D}" dt="2022-12-16T12:34:39.893" v="3" actId="20577"/>
          <ac:spMkLst>
            <pc:docMk/>
            <pc:sldMk cId="1708932620" sldId="407"/>
            <ac:spMk id="2" creationId="{00000000-0000-0000-0000-000000000000}"/>
          </ac:spMkLst>
        </pc:spChg>
        <pc:spChg chg="add mod">
          <ac:chgData name="Weigel Stefan (PAR-ES)" userId="fd3b2067-2981-4ad8-bf3a-d2e1004e4fa8" providerId="ADAL" clId="{C2D8A675-BF85-42D2-BFA7-DCAAE821E51D}" dt="2022-12-16T12:39:42.801" v="56" actId="1037"/>
          <ac:spMkLst>
            <pc:docMk/>
            <pc:sldMk cId="1708932620" sldId="407"/>
            <ac:spMk id="3" creationId="{44B1ED42-1DF6-DE06-FBC1-703DE49845A8}"/>
          </ac:spMkLst>
        </pc:spChg>
        <pc:spChg chg="mod">
          <ac:chgData name="Weigel Stefan (PAR-ES)" userId="fd3b2067-2981-4ad8-bf3a-d2e1004e4fa8" providerId="ADAL" clId="{C2D8A675-BF85-42D2-BFA7-DCAAE821E51D}" dt="2022-12-16T12:34:55.893" v="8" actId="20577"/>
          <ac:spMkLst>
            <pc:docMk/>
            <pc:sldMk cId="1708932620" sldId="407"/>
            <ac:spMk id="8" creationId="{06532336-43AE-43F1-8B99-299E3E2FB919}"/>
          </ac:spMkLst>
        </pc:spChg>
        <pc:spChg chg="mod">
          <ac:chgData name="Weigel Stefan (PAR-ES)" userId="fd3b2067-2981-4ad8-bf3a-d2e1004e4fa8" providerId="ADAL" clId="{C2D8A675-BF85-42D2-BFA7-DCAAE821E51D}" dt="2022-12-16T12:39:21.130" v="21" actId="554"/>
          <ac:spMkLst>
            <pc:docMk/>
            <pc:sldMk cId="1708932620" sldId="407"/>
            <ac:spMk id="10" creationId="{688053B1-3C6B-44C3-87A2-469CA7CF834F}"/>
          </ac:spMkLst>
        </pc:spChg>
        <pc:graphicFrameChg chg="mod">
          <ac:chgData name="Weigel Stefan (PAR-ES)" userId="fd3b2067-2981-4ad8-bf3a-d2e1004e4fa8" providerId="ADAL" clId="{C2D8A675-BF85-42D2-BFA7-DCAAE821E51D}" dt="2022-12-16T12:39:09.056" v="20"/>
          <ac:graphicFrameMkLst>
            <pc:docMk/>
            <pc:sldMk cId="1708932620" sldId="407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38098956638684"/>
          <c:y val="3.9318010048961703E-2"/>
          <c:w val="0.8658421726209844"/>
          <c:h val="0.7966251011233493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Streckennetzdichte</c:v>
                </c:pt>
              </c:strCache>
            </c:strRef>
          </c:tx>
          <c:spPr>
            <a:solidFill>
              <a:srgbClr val="8D8D8D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157-44B7-B3A8-7754B5DE1755}"/>
              </c:ext>
            </c:extLst>
          </c:dPt>
          <c:dPt>
            <c:idx val="14"/>
            <c:invertIfNegative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02-A157-44B7-B3A8-7754B5DE1755}"/>
              </c:ext>
            </c:extLst>
          </c:dPt>
          <c:cat>
            <c:strRef>
              <c:f>data!$E$3:$E$17</c:f>
              <c:strCache>
                <c:ptCount val="15"/>
                <c:pt idx="0">
                  <c:v>Norwegen</c:v>
                </c:pt>
                <c:pt idx="1">
                  <c:v>Finnland</c:v>
                </c:pt>
                <c:pt idx="2">
                  <c:v>Schweden</c:v>
                </c:pt>
                <c:pt idx="3">
                  <c:v>Spanien</c:v>
                </c:pt>
                <c:pt idx="4">
                  <c:v>Rumänien</c:v>
                </c:pt>
                <c:pt idx="5">
                  <c:v>Frankreich</c:v>
                </c:pt>
                <c:pt idx="6">
                  <c:v>Italien</c:v>
                </c:pt>
                <c:pt idx="7">
                  <c:v>Dänemark</c:v>
                </c:pt>
                <c:pt idx="8">
                  <c:v>Polen</c:v>
                </c:pt>
                <c:pt idx="9">
                  <c:v>Österreich</c:v>
                </c:pt>
                <c:pt idx="10">
                  <c:v>Grossbritannien</c:v>
                </c:pt>
                <c:pt idx="11">
                  <c:v>Niederlande</c:v>
                </c:pt>
                <c:pt idx="12">
                  <c:v>Deutschland</c:v>
                </c:pt>
                <c:pt idx="13">
                  <c:v>Tschechien</c:v>
                </c:pt>
                <c:pt idx="14">
                  <c:v>Schweiz</c:v>
                </c:pt>
              </c:strCache>
            </c:strRef>
          </c:cat>
          <c:val>
            <c:numRef>
              <c:f>data!$G$3:$G$17</c:f>
              <c:numCache>
                <c:formatCode>0</c:formatCode>
                <c:ptCount val="15"/>
                <c:pt idx="0">
                  <c:v>10.1616183684191</c:v>
                </c:pt>
                <c:pt idx="1">
                  <c:v>17.4876112183115</c:v>
                </c:pt>
                <c:pt idx="2">
                  <c:v>24.392969532255801</c:v>
                </c:pt>
                <c:pt idx="3">
                  <c:v>32.547389932072797</c:v>
                </c:pt>
                <c:pt idx="4">
                  <c:v>44.526380254867902</c:v>
                </c:pt>
                <c:pt idx="5">
                  <c:v>51.133619398711097</c:v>
                </c:pt>
                <c:pt idx="6">
                  <c:v>55.710592262288998</c:v>
                </c:pt>
                <c:pt idx="7">
                  <c:v>57.029702970297002</c:v>
                </c:pt>
                <c:pt idx="8">
                  <c:v>62.049575543073999</c:v>
                </c:pt>
                <c:pt idx="9">
                  <c:v>66.465580962827005</c:v>
                </c:pt>
                <c:pt idx="10">
                  <c:v>69.212248196037507</c:v>
                </c:pt>
                <c:pt idx="11">
                  <c:v>81.358018085504796</c:v>
                </c:pt>
                <c:pt idx="12">
                  <c:v>108.611473589713</c:v>
                </c:pt>
                <c:pt idx="13">
                  <c:v>120.716106046582</c:v>
                </c:pt>
                <c:pt idx="14">
                  <c:v>128.7716549686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57-44B7-B3A8-7754B5DE17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33638400"/>
        <c:axId val="133636864"/>
      </c:barChart>
      <c:valAx>
        <c:axId val="133636864"/>
        <c:scaling>
          <c:orientation val="minMax"/>
          <c:max val="140"/>
        </c:scaling>
        <c:delete val="0"/>
        <c:axPos val="b"/>
        <c:majorGridlines/>
        <c:numFmt formatCode="#,##0" sourceLinked="0"/>
        <c:majorTickMark val="out"/>
        <c:minorTickMark val="none"/>
        <c:tickLblPos val="nextTo"/>
        <c:spPr>
          <a:ln>
            <a:noFill/>
          </a:ln>
        </c:spPr>
        <c:crossAx val="133638400"/>
        <c:crosses val="autoZero"/>
        <c:crossBetween val="between"/>
        <c:majorUnit val="20"/>
      </c:valAx>
      <c:catAx>
        <c:axId val="1336384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crossAx val="133636864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treckennetzdichte in Europa im 2022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354214472"/>
              </p:ext>
            </p:extLst>
          </p:nvPr>
        </p:nvGraphicFramePr>
        <p:xfrm>
          <a:off x="1487488" y="1700809"/>
          <a:ext cx="92202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5353CABD-91F1-4DCF-A637-4F62527C40F1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Meter Eisenbahnstrecke pro Quadratkilometer Landesfläch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6532336-43AE-43F1-8B99-299E3E2FB919}"/>
              </a:ext>
            </a:extLst>
          </p:cNvPr>
          <p:cNvSpPr txBox="1"/>
          <p:nvPr/>
        </p:nvSpPr>
        <p:spPr>
          <a:xfrm rot="16200000">
            <a:off x="9605908" y="3954664"/>
            <a:ext cx="394767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Quellen: Eurostat, BFS, ORR (GB).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88053B1-3C6B-44C3-87A2-469CA7CF8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708932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2f5c8543-cf23-4718-a3b8-32b0a91d511a"/>
    <ds:schemaRef ds:uri="http://purl.org/dc/elements/1.1/"/>
    <ds:schemaRef ds:uri="http://schemas.microsoft.com/office/2006/metadata/properties"/>
    <ds:schemaRef ds:uri="96e82a89-ba48-4728-b345-cf206dbec8f1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BE18A53-AF91-4CCE-8E11-0F6ED93928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0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Streckennetzdichte in Europa im 2022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eckennetzdichte in Europa im 2022.</dc:title>
  <dc:creator>Meyer Raphael (KOM-PGA-VSF)</dc:creator>
  <cp:lastModifiedBy>Stefan Weigel (PAR-EPS)</cp:lastModifiedBy>
  <cp:revision>60</cp:revision>
  <dcterms:created xsi:type="dcterms:W3CDTF">2020-09-30T11:00:09Z</dcterms:created>
  <dcterms:modified xsi:type="dcterms:W3CDTF">2024-02-28T14:24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